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56" r:id="rId2"/>
    <p:sldId id="311" r:id="rId3"/>
    <p:sldId id="299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3" r:id="rId21"/>
  </p:sldIdLst>
  <p:sldSz cx="12192000" cy="6858000"/>
  <p:notesSz cx="6858000" cy="9144000"/>
  <p:defaultTextStyle>
    <a:defPPr>
      <a:defRPr lang="zh-Han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85" d="100"/>
          <a:sy n="85" d="100"/>
        </p:scale>
        <p:origin x="213" y="55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620B7041-6594-4BE2-8703-78B4E00C91E5}" type="datetimeFigureOut">
              <a:rPr lang="en-ID"/>
              <a:t>05/07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ECE837E-594B-4F0F-92F5-F20D4296AC5C}" type="slidenum">
              <a:rPr lang="en-ID"/>
              <a:t>‹#›</a:t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fauxels?utm_content=attributionCopyText&amp;utm_medium=referral&amp;utm_source=pexel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group-of-people-sitting-indoors-3184360/?utm_content=attributionCopyText&amp;utm_medium=referral&amp;utm_source=pexels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employee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shvetsa?utm_content=attributionCopyText&amp;utm_medium=referral&amp;utm_source=pexels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close-up-of-woman-using-digital-tablet-3727456/?utm_content=attributionCopyText&amp;utm_medium=referral&amp;utm_source=pexels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fauxels?utm_content=attributionCopyText&amp;utm_medium=referral&amp;utm_source=pexels"/>
              </a:rPr>
              <a:t>fauxel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group-of-people-sitting-indoors-3184360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1</a:t>
            </a:fld>
            <a:endParaRPr lang="en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874859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94909860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85571653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3FD2512-9DE8-C2CF-BAE9-26DCB5FEBC9D}" type="slidenum">
              <a:rPr/>
              <a:t>12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0997498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569126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635247152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ED3FBCB-18BE-5F67-9538-26E31B6B7E6F}" type="slidenum">
              <a:rPr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4699816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1262617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290100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14430BA-9018-EA73-0431-0ED75F270CB8}" type="slidenum">
              <a:rPr/>
              <a:t>14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5029179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79576512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8697942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BCFACD21-B169-9BE4-DE7C-5A139FDF0021}" type="slidenum">
              <a:rPr/>
              <a:t>15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9532291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954266077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234331565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3A0B9C8-45F3-1401-C0C6-E062F6AD28F0}" type="slidenum">
              <a:rPr/>
              <a:t>16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333DDB9-F859-89E7-3C07-3DC4FA19E57B}" type="slidenum">
              <a:rPr/>
              <a:t>17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143730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62549490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722630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95AD1F22-1C32-9CD9-E770-CB4F5BBD4D9D}" type="slidenum">
              <a:rPr/>
              <a:t>18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263025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2055894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448019780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787AE51-F25E-438E-F9AE-F744C9EDD563}" type="slidenum">
              <a:rPr/>
              <a:t>19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unsplash.com/@officestock?utm_source=unsplash&amp;utm_medium=referral&amp;utm_content=creditCopyText"/>
              </a:rPr>
              <a:t>Sebastian Herrmann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 </a:t>
            </a:r>
            <a:r>
              <a:rPr lang="en-ID" sz="1200" b="0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unsplash.com/s/photos/employee?utm_source=unsplash&amp;utm_medium=referral&amp;utm_content=creditCopyText"/>
              </a:rPr>
              <a:t>Unsplas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20</a:t>
            </a:fld>
            <a:endParaRPr lang="en-ID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0E1A9406-42FC-620F-202D-7DAF66610007}" type="slidenum">
              <a:rPr/>
              <a:t>4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83440671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1285598486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1094563157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2340619-0C71-5967-A2B0-CCC4359F9447}" type="slidenum">
              <a:rPr/>
              <a:t>5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https://www.pexels.com/@shvetsa?utm_content=attributionCopyText&amp;utm_medium=referral&amp;utm_source=pexels"/>
              </a:rPr>
              <a:t>Anna Shvets</a:t>
            </a:r>
            <a:r>
              <a:rPr lang="en-ID" sz="1200" b="0" i="0" u="none" strike="noStrike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sng" strike="noStrike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https://www.pexels.com/photo/close-up-of-woman-using-digital-tablet-3727456/?utm_content=attributionCopyText&amp;utm_medium=referral&amp;utm_source=pexels"/>
              </a:rPr>
              <a:t>Pexel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8ECE837E-594B-4F0F-92F5-F20D4296AC5C}" type="slidenum">
              <a:rPr lang="en-ID"/>
              <a:t>6</a:t>
            </a:fld>
            <a:endParaRPr lang="en-ID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E383D53F-CFBB-2146-2671-4C9D162357D6}" type="slidenum">
              <a:rPr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D6E93E9E-CC83-3B28-D533-6FAED7164A06}" type="slidenum">
              <a:rPr/>
              <a:t>8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F92D059E-EF0A-EB65-3AD8-DD4A6BEDB43D}" type="slidenum">
              <a:rPr/>
              <a:t>9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89848BD-3C4F-6EE1-D48C-AD7BD030E8FD}" type="slidenum">
              <a:rPr/>
              <a:t>10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48337993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2040255514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51722971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503A53D1-8626-D6AA-8491-A779A7CD8BAB}" type="slidenum">
              <a:rPr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le and Vertical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1825624"/>
            <a:ext cx="11125200" cy="44227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cal 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4"/>
            <a:ext cx="2933699" cy="5883275"/>
          </a:xfrm>
        </p:spPr>
        <p:txBody>
          <a:bodyPr vert="eaVert"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533400" y="365124"/>
            <a:ext cx="8039100" cy="5883275"/>
          </a:xfrm>
        </p:spPr>
        <p:txBody>
          <a:bodyPr vert="eaVert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>
              <a:defRPr/>
            </a:pPr>
            <a:endParaRPr lang="en-ID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-Commerce Marketing Plan</a:t>
            </a:r>
            <a:endParaRPr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auto"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33400" y="1825624"/>
            <a:ext cx="111252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2" name="Round Same Side Corner Rectangle 11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3" name="TextBox 12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Section Head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5334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4"/>
            <a:ext cx="5486400" cy="442277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33400" y="365125"/>
            <a:ext cx="11128376" cy="1325563"/>
          </a:xfrm>
        </p:spPr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533400" y="2505074"/>
            <a:ext cx="5464175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486400" cy="3743325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9" name="Round Same Side Corner Rectangle 8"/>
          <p:cNvSpPr/>
          <p:nvPr userDrawn="1"/>
        </p:nvSpPr>
        <p:spPr bwMode="auto">
          <a:xfrm>
            <a:off x="11264900" y="6393656"/>
            <a:ext cx="393700" cy="464343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ID" sz="2400" b="1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fld id="{40876BFF-1584-4FA6-A406-00684317F9C8}" type="slidenum">
              <a:rPr lang="en-US" sz="1000" b="1">
                <a:solidFill>
                  <a:schemeClr val="bg1"/>
                </a:solidFill>
                <a:latin typeface="Segoe UI"/>
                <a:cs typeface="Segoe UI"/>
              </a:rPr>
              <a:t>‹#›</a:t>
            </a:fld>
            <a:endParaRPr lang="en-US" sz="1000" b="1">
              <a:solidFill>
                <a:schemeClr val="bg1"/>
              </a:solidFill>
              <a:latin typeface="Segoe UI"/>
              <a:cs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auto"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defRPr/>
            </a:pPr>
            <a:r>
              <a:rPr lang="en-US" sz="800" b="0">
                <a:solidFill>
                  <a:schemeClr val="bg1">
                    <a:lumMod val="65000"/>
                  </a:schemeClr>
                </a:solidFill>
                <a:latin typeface="Segoe UI Light"/>
                <a:cs typeface="Segoe UI Light"/>
              </a:rPr>
              <a:t>Employee Benefits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7772400" imgH="10058400" progId="TCLayout.ActiveDocument.1">
                  <p:embed/>
                </p:oleObj>
              </mc:Choice>
              <mc:Fallback>
                <p:oleObj name="oleObj" r:id="rId14" imgW="7772400" imgH="10058400" progId="TCLayout.ActiveDocument.1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/>
        </p:nvSpPr>
        <p:spPr bwMode="auto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defRPr/>
            </a:pPr>
            <a:endParaRPr lang="en-US" sz="4400" b="1" i="0">
              <a:latin typeface="Segoe UI"/>
              <a:ea typeface="+mj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 b="1">
          <a:solidFill>
            <a:schemeClr val="tx1"/>
          </a:solidFill>
          <a:latin typeface="Segoe UI"/>
          <a:ea typeface="+mj-ea"/>
          <a:cs typeface="Segoe UI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Segoe UI Light"/>
          <a:ea typeface="+mn-ea"/>
          <a:cs typeface="Segoe UI Light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Segoe UI Light"/>
          <a:ea typeface="+mn-ea"/>
          <a:cs typeface="Segoe UI Light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Segoe UI Light"/>
          <a:ea typeface="+mn-ea"/>
          <a:cs typeface="Segoe UI Light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Segoe UI Light"/>
          <a:ea typeface="+mn-ea"/>
          <a:cs typeface="Segoe UI Light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23" name="Object 2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8"/>
          <p:cNvSpPr/>
          <p:nvPr/>
        </p:nvSpPr>
        <p:spPr bwMode="auto">
          <a:xfrm>
            <a:off x="468091" y="453845"/>
            <a:ext cx="11255818" cy="1817543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6600"/>
              <a:t>We are mustrust!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811797" y="3687147"/>
            <a:ext cx="3600953" cy="142894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 bwMode="auto">
          <a:xfrm>
            <a:off x="4306570" y="3939957"/>
            <a:ext cx="52931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8" name="Picture 2" descr="Rust Logo PNG Vector (SVG) Free Download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5191876" y="3281307"/>
            <a:ext cx="2233159" cy="2240628"/>
          </a:xfrm>
          <a:prstGeom prst="rect">
            <a:avLst/>
          </a:prstGeom>
          <a:noFill/>
        </p:spPr>
      </p:pic>
      <p:pic>
        <p:nvPicPr>
          <p:cNvPr id="9" name="Picture 4" descr="MMU letter logo design in illustration. Vector logo, calligraphy ..."/>
          <p:cNvPicPr>
            <a:picLocks noChangeAspect="1" noChangeArrowheads="1"/>
          </p:cNvPicPr>
          <p:nvPr/>
        </p:nvPicPr>
        <p:blipFill>
          <a:blip r:embed="rId7"/>
          <a:stretch/>
        </p:blipFill>
        <p:spPr bwMode="auto">
          <a:xfrm>
            <a:off x="8082800" y="2601978"/>
            <a:ext cx="3535907" cy="3535907"/>
          </a:xfrm>
          <a:prstGeom prst="rect">
            <a:avLst/>
          </a:prstGeom>
          <a:noFill/>
        </p:spPr>
      </p:pic>
      <p:sp>
        <p:nvSpPr>
          <p:cNvPr id="10" name="文本框 9"/>
          <p:cNvSpPr txBox="1"/>
          <p:nvPr/>
        </p:nvSpPr>
        <p:spPr bwMode="auto">
          <a:xfrm>
            <a:off x="7781029" y="3908267"/>
            <a:ext cx="603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+</a:t>
            </a:r>
            <a:endParaRPr lang="zh-CN" sz="54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 useBgFill="1">
        <p:nvSpPr>
          <p:cNvPr id="10" name="Rectangle 9"/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 bwMode="auto"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 sz="40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MMU</a:t>
            </a: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部分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09464325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</a:t>
            </a:r>
            <a:endParaRPr lang="zh-CN"/>
          </a:p>
        </p:txBody>
      </p:sp>
      <p:sp>
        <p:nvSpPr>
          <p:cNvPr id="681846334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980330716" name=" 980330715"/>
          <p:cNvSpPr/>
          <p:nvPr/>
        </p:nvSpPr>
        <p:spPr bwMode="auto">
          <a:xfrm>
            <a:off x="1804003" y="2548253"/>
            <a:ext cx="8264004" cy="2286360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使用软件模拟，实现了一个简单的内存管理单元(MMU)模拟器,支持虚拟内存、页表管理、TLB加速以及LRU和FIFO两种页面替换策略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用链表维护内存帧的使用情况,并提供了一系列函数来处理内存访问、页面错误等操作。</a:t>
            </a:r>
          </a:p>
          <a:p>
            <a:pPr marL="349965" indent="-349965">
              <a:buFont typeface="Arial"/>
              <a:buChar char="•"/>
              <a:defRPr/>
            </a:pPr>
            <a:r>
              <a:rPr lang="zh-Hans" sz="2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运行冒泡排序程序，统计访存时间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45991403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780921023" name="文本框 2"/>
          <p:cNvSpPr txBox="1"/>
          <p:nvPr/>
        </p:nvSpPr>
        <p:spPr bwMode="auto">
          <a:xfrm>
            <a:off x="702859" y="1295399"/>
            <a:ext cx="8557506" cy="366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1790554772" name=" 1790554771"/>
          <p:cNvSpPr/>
          <p:nvPr/>
        </p:nvSpPr>
        <p:spPr bwMode="auto">
          <a:xfrm>
            <a:off x="350874" y="2368507"/>
            <a:ext cx="5528459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address_map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虚拟地址映射到物理地址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先查找TLB,未命中则访问页表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27936" indent="-327936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页表项无效时,触发页面错误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239821" indent="-239821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更新LRU/FIFO链表和TLB</a:t>
            </a:r>
            <a:endParaRPr sz="2800"/>
          </a:p>
        </p:txBody>
      </p:sp>
      <p:pic>
        <p:nvPicPr>
          <p:cNvPr id="416155581" name="图片 41615558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811126" y="1163002"/>
            <a:ext cx="6195107" cy="5028246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79496741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70696130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38956283" name=" 2038956282"/>
          <p:cNvSpPr/>
          <p:nvPr/>
        </p:nvSpPr>
        <p:spPr bwMode="auto">
          <a:xfrm>
            <a:off x="207999" y="1320756"/>
            <a:ext cx="5937970" cy="39322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pageFault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处理页面错误情况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根据ReplacementStrategy选择替换帧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若使用TLB,清除被替换页的TLB条目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脏页写回磁盘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读入导致页面错误的页到替换帧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更新页表项和LRU/FIFO链表</a:t>
            </a:r>
            <a:endParaRPr lang="zh-Hans" sz="2800" b="0" i="0" u="none" strike="noStrike" cap="none" spc="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780332060" name="图片 178033205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6000750" y="1174749"/>
            <a:ext cx="6301464" cy="5206999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1371118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156797897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2049867382" name=" 2049867381"/>
          <p:cNvSpPr/>
          <p:nvPr/>
        </p:nvSpPr>
        <p:spPr bwMode="auto">
          <a:xfrm>
            <a:off x="297396" y="2220096"/>
            <a:ext cx="5532058" cy="179867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LB_search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在TLB中搜索虚拟地址映射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indent="-394023"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找到则更新引用位和脏位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2" marR="0" indent="-39402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未找到返回-1(TLB未命中)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265772991" name="图片 126577299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044132" y="1358899"/>
            <a:ext cx="7016105" cy="4387849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2634857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关键函数）</a:t>
            </a:r>
            <a:endParaRPr lang="zh-CN"/>
          </a:p>
        </p:txBody>
      </p:sp>
      <p:sp>
        <p:nvSpPr>
          <p:cNvPr id="571449463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65081642" name=" 365081641"/>
          <p:cNvSpPr/>
          <p:nvPr/>
        </p:nvSpPr>
        <p:spPr bwMode="auto">
          <a:xfrm>
            <a:off x="207999" y="1320756"/>
            <a:ext cx="5533138" cy="2225399"/>
          </a:xfr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LB_update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将页号和帧号映射添加到TLB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优先使用空闲条目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无空闲条目时,使用LRU替换策略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  <a:p>
            <a:pPr marL="394023" marR="0" indent="-3940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zh-Hans" sz="2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被替换条目脏位为1,更新页表项</a:t>
            </a:r>
            <a:endParaRPr lang="zh-Hans" sz="2800" b="0" i="0" u="none" strike="noStrike" cap="none" spc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1210244922" name="图片 121024492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654427" y="850899"/>
            <a:ext cx="6437585" cy="5556249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95730994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MMU部分（模拟结果）</a:t>
            </a:r>
            <a:endParaRPr lang="zh-CN"/>
          </a:p>
        </p:txBody>
      </p:sp>
      <p:sp>
        <p:nvSpPr>
          <p:cNvPr id="1839168129" name="文本框 2"/>
          <p:cNvSpPr txBox="1"/>
          <p:nvPr/>
        </p:nvSpPr>
        <p:spPr bwMode="auto">
          <a:xfrm>
            <a:off x="702859" y="1295399"/>
            <a:ext cx="8557506" cy="36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762954276" name="文本框 762954275"/>
          <p:cNvSpPr txBox="1"/>
          <p:nvPr/>
        </p:nvSpPr>
        <p:spPr bwMode="auto">
          <a:xfrm>
            <a:off x="3938624" y="1904999"/>
            <a:ext cx="738349" cy="366119"/>
          </a:xfrm>
          <a:prstGeom prst="rect">
            <a:avLst/>
          </a:prstGeom>
          <a:noFill/>
        </p:spPr>
        <p:txBody>
          <a:bodyPr vertOverflow="overflow" horzOverflow="overflow" vert="horz" wrap="non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r>
              <a:t>TODO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0644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交叉编译与上板(bindgen方案)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470864448" name="文本框 470864447"/>
          <p:cNvSpPr txBox="1"/>
          <p:nvPr/>
        </p:nvSpPr>
        <p:spPr bwMode="auto">
          <a:xfrm>
            <a:off x="700124" y="1952624"/>
            <a:ext cx="6646189" cy="1228264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 marL="349965" indent="-349965">
              <a:buFont typeface="Arial"/>
              <a:buChar char="•"/>
              <a:defRPr/>
            </a:pPr>
            <a:r>
              <a:rPr sz="2400" dirty="0"/>
              <a:t>用 </a:t>
            </a:r>
            <a:r>
              <a:rPr sz="2400" dirty="0" err="1"/>
              <a:t>wrapper.c</a:t>
            </a:r>
            <a:r>
              <a:rPr sz="2400" dirty="0"/>
              <a:t>  include </a:t>
            </a:r>
            <a:r>
              <a:rPr sz="2400" dirty="0" err="1"/>
              <a:t>所有头文件</a:t>
            </a:r>
            <a:r>
              <a:rPr sz="2400" dirty="0"/>
              <a:t>。</a:t>
            </a:r>
          </a:p>
          <a:p>
            <a:pPr marL="283879" indent="-283879">
              <a:buFont typeface="Arial"/>
              <a:buChar char="•"/>
              <a:defRPr/>
            </a:pPr>
            <a:r>
              <a:rPr sz="2400" dirty="0" err="1"/>
              <a:t>再对这一</a:t>
            </a:r>
            <a:r>
              <a:rPr sz="2400" dirty="0"/>
              <a:t> c </a:t>
            </a:r>
            <a:r>
              <a:rPr sz="2400" dirty="0" err="1"/>
              <a:t>文件进行</a:t>
            </a:r>
            <a:r>
              <a:rPr sz="2400" dirty="0"/>
              <a:t> </a:t>
            </a:r>
            <a:r>
              <a:rPr sz="2400" dirty="0" err="1"/>
              <a:t>bindgen，可以得到干净的</a:t>
            </a:r>
            <a:r>
              <a:rPr sz="2400" dirty="0"/>
              <a:t> </a:t>
            </a:r>
            <a:r>
              <a:rPr sz="2400" dirty="0" err="1"/>
              <a:t>bind.rs（不会生成调用的库函数</a:t>
            </a:r>
            <a:r>
              <a:rPr sz="2400" dirty="0"/>
              <a:t>）</a:t>
            </a:r>
          </a:p>
        </p:txBody>
      </p:sp>
      <p:pic>
        <p:nvPicPr>
          <p:cNvPr id="1332161019" name="图片 133216101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962703" y="142875"/>
            <a:ext cx="2908621" cy="3159124"/>
          </a:xfrm>
          <a:prstGeom prst="rect">
            <a:avLst/>
          </a:prstGeom>
        </p:spPr>
      </p:pic>
      <p:pic>
        <p:nvPicPr>
          <p:cNvPr id="1118251488" name="图片 111825148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34999" y="3619499"/>
            <a:ext cx="11218824" cy="2892353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15267896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交叉编译与上板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Arial"/>
              <a:ea typeface="Arial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81777355" name="标题 1"/>
          <p:cNvSpPr>
            <a:spLocks noGrp="1"/>
          </p:cNvSpPr>
          <p:nvPr>
            <p:ph type="title"/>
          </p:nvPr>
        </p:nvSpPr>
        <p:spPr bwMode="auto">
          <a:xfrm>
            <a:off x="838199" y="365124"/>
            <a:ext cx="10515600" cy="13064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zh-CN" sz="400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</a:rPr>
              <a:t>交叉编译与上板</a:t>
            </a:r>
            <a:endParaRPr lang="en-US" sz="4000">
              <a:solidFill>
                <a:schemeClr val="accent2">
                  <a:lumMod val="75000"/>
                </a:schemeClr>
              </a:solidFill>
              <a:latin typeface="Arial"/>
              <a:ea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FreeRTOS</a:t>
            </a:r>
            <a:endParaRPr lang="en-US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流行性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是最主流的嵌入式操作系统之一，在全球范围内被广泛采用，拥有庞大的社区支持和活跃的生态系统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功能丰富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提供了丰富的功能，如任务管理、内存管理、同步机制等，同时还支持文件系统，满足了嵌入式系统的各种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优异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实时性能出色，能够满足嵌入式系统的实时性需求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源代码质量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代码精简、可读性强，易于移植到各种嵌入式平台，对开发者友好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版权“友好”：</a:t>
            </a:r>
            <a:r>
              <a:rPr lang="en-US" altLang="zh-CN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RTOS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许可证商业友好，允许商业应用和修改，没有版权的后顾之忧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0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个广泛使用的实时操作系统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(RTOS)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，专为嵌入式系统设计。它由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ichard Barry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于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2003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年首次发布并持续维护。</a:t>
            </a:r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endParaRPr lang="en-US" altLang="zh-CN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en-US" altLang="zh-CN" sz="1400" b="0" dirty="0" err="1">
                <a:latin typeface="+mn-ea"/>
                <a:ea typeface="+mn-ea"/>
                <a:cs typeface="Segoe UI" panose="020B0502040204020203" pitchFamily="34" charset="0"/>
              </a:rPr>
              <a:t>FreeRTOS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以其简洁、高效、可裁剪的特点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,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全球范围内获得了广泛的认可和应用，其优点包括但不限于右表中列出的部分：</a:t>
            </a:r>
          </a:p>
          <a:p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卡通画&#10;&#10;中度可信度描述已自动生成">
            <a:extLst>
              <a:ext uri="{FF2B5EF4-FFF2-40B4-BE49-F238E27FC236}">
                <a16:creationId xmlns:a16="http://schemas.microsoft.com/office/drawing/2014/main" id="{73FFD281-54B7-CD9A-22C4-D54772CD47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41" y="1755468"/>
            <a:ext cx="3273542" cy="12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654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 l="13460" r="13700" b="8888"/>
          <a:stretch/>
        </p:blipFill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</p:spPr>
      </p:pic>
      <p:sp>
        <p:nvSpPr>
          <p:cNvPr id="9" name="Freeform 8"/>
          <p:cNvSpPr/>
          <p:nvPr/>
        </p:nvSpPr>
        <p:spPr bwMode="auto">
          <a:xfrm>
            <a:off x="533400" y="1"/>
            <a:ext cx="7493000" cy="6248399"/>
          </a:xfrm>
          <a:custGeom>
            <a:avLst/>
            <a:gdLst>
              <a:gd name="connsiteX0" fmla="*/ 0 w 7493000"/>
              <a:gd name="connsiteY0" fmla="*/ 0 h 6248399"/>
              <a:gd name="connsiteX1" fmla="*/ 7493000 w 7493000"/>
              <a:gd name="connsiteY1" fmla="*/ 0 h 6248399"/>
              <a:gd name="connsiteX2" fmla="*/ 7493000 w 7493000"/>
              <a:gd name="connsiteY2" fmla="*/ 5684409 h 6248399"/>
              <a:gd name="connsiteX3" fmla="*/ 6929010 w 7493000"/>
              <a:gd name="connsiteY3" fmla="*/ 6248399 h 6248399"/>
              <a:gd name="connsiteX4" fmla="*/ 563990 w 7493000"/>
              <a:gd name="connsiteY4" fmla="*/ 6248399 h 6248399"/>
              <a:gd name="connsiteX5" fmla="*/ 0 w 7493000"/>
              <a:gd name="connsiteY5" fmla="*/ 5684409 h 624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3000" h="6248399" extrusionOk="0">
                <a:moveTo>
                  <a:pt x="0" y="0"/>
                </a:moveTo>
                <a:lnTo>
                  <a:pt x="7493000" y="0"/>
                </a:lnTo>
                <a:lnTo>
                  <a:pt x="7493000" y="5684409"/>
                </a:lnTo>
                <a:cubicBezTo>
                  <a:pt x="7493000" y="5995892"/>
                  <a:pt x="7240493" y="6248399"/>
                  <a:pt x="6929010" y="6248399"/>
                </a:cubicBezTo>
                <a:lnTo>
                  <a:pt x="563990" y="6248399"/>
                </a:lnTo>
                <a:cubicBezTo>
                  <a:pt x="252507" y="6248399"/>
                  <a:pt x="0" y="5995892"/>
                  <a:pt x="0" y="5684409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 txBox="1"/>
          <p:nvPr/>
        </p:nvSpPr>
        <p:spPr bwMode="auto">
          <a:xfrm>
            <a:off x="3878468" y="1905405"/>
            <a:ext cx="3266870" cy="243758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8800">
                <a:solidFill>
                  <a:schemeClr val="bg1"/>
                </a:solidFill>
                <a:latin typeface="Segoe UI"/>
                <a:cs typeface="Segoe UI"/>
              </a:rPr>
              <a:t>Thank You</a:t>
            </a:r>
            <a:endParaRPr/>
          </a:p>
        </p:txBody>
      </p:sp>
      <p:sp>
        <p:nvSpPr>
          <p:cNvPr id="26" name="Freeform 25"/>
          <p:cNvSpPr/>
          <p:nvPr/>
        </p:nvSpPr>
        <p:spPr bwMode="auto">
          <a:xfrm>
            <a:off x="0" y="2001435"/>
            <a:ext cx="2982685" cy="2091594"/>
          </a:xfrm>
          <a:custGeom>
            <a:avLst/>
            <a:gdLst>
              <a:gd name="connsiteX0" fmla="*/ 0 w 2982686"/>
              <a:gd name="connsiteY0" fmla="*/ 0 h 2091594"/>
              <a:gd name="connsiteX1" fmla="*/ 1936889 w 2982686"/>
              <a:gd name="connsiteY1" fmla="*/ 0 h 2091594"/>
              <a:gd name="connsiteX2" fmla="*/ 2982686 w 2982686"/>
              <a:gd name="connsiteY2" fmla="*/ 1045797 h 2091594"/>
              <a:gd name="connsiteX3" fmla="*/ 1936889 w 2982686"/>
              <a:gd name="connsiteY3" fmla="*/ 2091594 h 2091594"/>
              <a:gd name="connsiteX4" fmla="*/ 0 w 2982686"/>
              <a:gd name="connsiteY4" fmla="*/ 2091594 h 209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2686" h="2091594" extrusionOk="0">
                <a:moveTo>
                  <a:pt x="0" y="0"/>
                </a:moveTo>
                <a:lnTo>
                  <a:pt x="1936889" y="0"/>
                </a:lnTo>
                <a:cubicBezTo>
                  <a:pt x="2514467" y="0"/>
                  <a:pt x="2982686" y="468219"/>
                  <a:pt x="2982686" y="1045797"/>
                </a:cubicBezTo>
                <a:cubicBezTo>
                  <a:pt x="2982686" y="1623375"/>
                  <a:pt x="2514467" y="2091594"/>
                  <a:pt x="1936889" y="2091594"/>
                </a:cubicBezTo>
                <a:lnTo>
                  <a:pt x="0" y="2091594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1131826" y="3124200"/>
            <a:ext cx="106282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 bwMode="auto">
          <a:xfrm>
            <a:off x="1102613" y="2452486"/>
            <a:ext cx="1189491" cy="1189491"/>
            <a:chOff x="4433888" y="2903538"/>
            <a:chExt cx="330200" cy="330200"/>
          </a:xfrm>
        </p:grpSpPr>
        <p:sp>
          <p:nvSpPr>
            <p:cNvPr id="31" name="Line 165"/>
            <p:cNvSpPr>
              <a:spLocks noChangeShapeType="1"/>
            </p:cNvSpPr>
            <p:nvPr/>
          </p:nvSpPr>
          <p:spPr bwMode="auto">
            <a:xfrm>
              <a:off x="4464050" y="2970213"/>
              <a:ext cx="269875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2" name="Oval 166"/>
            <p:cNvSpPr>
              <a:spLocks noChangeArrowheads="1"/>
            </p:cNvSpPr>
            <p:nvPr/>
          </p:nvSpPr>
          <p:spPr bwMode="auto">
            <a:xfrm>
              <a:off x="4733925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3" name="Oval 167"/>
            <p:cNvSpPr>
              <a:spLocks noChangeArrowheads="1"/>
            </p:cNvSpPr>
            <p:nvPr/>
          </p:nvSpPr>
          <p:spPr bwMode="auto">
            <a:xfrm>
              <a:off x="4433888" y="2955925"/>
              <a:ext cx="30162" cy="30162"/>
            </a:xfrm>
            <a:prstGeom prst="ellips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4" name="Freeform 168"/>
            <p:cNvSpPr/>
            <p:nvPr/>
          </p:nvSpPr>
          <p:spPr bwMode="auto">
            <a:xfrm>
              <a:off x="4500563" y="2970213"/>
              <a:ext cx="195263" cy="263525"/>
            </a:xfrm>
            <a:custGeom>
              <a:avLst/>
              <a:gdLst>
                <a:gd name="T0" fmla="*/ 123 w 123"/>
                <a:gd name="T1" fmla="*/ 0 h 166"/>
                <a:gd name="T2" fmla="*/ 0 w 123"/>
                <a:gd name="T3" fmla="*/ 0 h 166"/>
                <a:gd name="T4" fmla="*/ 0 w 123"/>
                <a:gd name="T5" fmla="*/ 114 h 166"/>
                <a:gd name="T6" fmla="*/ 62 w 123"/>
                <a:gd name="T7" fmla="*/ 166 h 166"/>
                <a:gd name="T8" fmla="*/ 123 w 123"/>
                <a:gd name="T9" fmla="*/ 114 h 166"/>
                <a:gd name="T10" fmla="*/ 123 w 123"/>
                <a:gd name="T1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166" extrusionOk="0">
                  <a:moveTo>
                    <a:pt x="123" y="0"/>
                  </a:moveTo>
                  <a:lnTo>
                    <a:pt x="0" y="0"/>
                  </a:lnTo>
                  <a:lnTo>
                    <a:pt x="0" y="114"/>
                  </a:lnTo>
                  <a:lnTo>
                    <a:pt x="62" y="166"/>
                  </a:lnTo>
                  <a:lnTo>
                    <a:pt x="123" y="114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5" name="Freeform 169"/>
            <p:cNvSpPr/>
            <p:nvPr/>
          </p:nvSpPr>
          <p:spPr bwMode="auto">
            <a:xfrm>
              <a:off x="4500563" y="2903538"/>
              <a:ext cx="195263" cy="66675"/>
            </a:xfrm>
            <a:custGeom>
              <a:avLst/>
              <a:gdLst>
                <a:gd name="T0" fmla="*/ 0 w 123"/>
                <a:gd name="T1" fmla="*/ 42 h 42"/>
                <a:gd name="T2" fmla="*/ 62 w 123"/>
                <a:gd name="T3" fmla="*/ 0 h 42"/>
                <a:gd name="T4" fmla="*/ 123 w 123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3" h="42" extrusionOk="0">
                  <a:moveTo>
                    <a:pt x="0" y="42"/>
                  </a:moveTo>
                  <a:lnTo>
                    <a:pt x="62" y="0"/>
                  </a:lnTo>
                  <a:lnTo>
                    <a:pt x="123" y="4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36" name="Freeform 170"/>
            <p:cNvSpPr/>
            <p:nvPr/>
          </p:nvSpPr>
          <p:spPr bwMode="auto">
            <a:xfrm>
              <a:off x="4530725" y="3011488"/>
              <a:ext cx="136525" cy="131763"/>
            </a:xfrm>
            <a:custGeom>
              <a:avLst/>
              <a:gdLst>
                <a:gd name="T0" fmla="*/ 43 w 86"/>
                <a:gd name="T1" fmla="*/ 0 h 83"/>
                <a:gd name="T2" fmla="*/ 52 w 86"/>
                <a:gd name="T3" fmla="*/ 31 h 83"/>
                <a:gd name="T4" fmla="*/ 86 w 86"/>
                <a:gd name="T5" fmla="*/ 31 h 83"/>
                <a:gd name="T6" fmla="*/ 59 w 86"/>
                <a:gd name="T7" fmla="*/ 50 h 83"/>
                <a:gd name="T8" fmla="*/ 69 w 86"/>
                <a:gd name="T9" fmla="*/ 83 h 83"/>
                <a:gd name="T10" fmla="*/ 43 w 86"/>
                <a:gd name="T11" fmla="*/ 62 h 83"/>
                <a:gd name="T12" fmla="*/ 17 w 86"/>
                <a:gd name="T13" fmla="*/ 83 h 83"/>
                <a:gd name="T14" fmla="*/ 26 w 86"/>
                <a:gd name="T15" fmla="*/ 50 h 83"/>
                <a:gd name="T16" fmla="*/ 0 w 86"/>
                <a:gd name="T17" fmla="*/ 31 h 83"/>
                <a:gd name="T18" fmla="*/ 33 w 86"/>
                <a:gd name="T19" fmla="*/ 31 h 83"/>
                <a:gd name="T20" fmla="*/ 43 w 86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3" extrusionOk="0">
                  <a:moveTo>
                    <a:pt x="43" y="0"/>
                  </a:moveTo>
                  <a:lnTo>
                    <a:pt x="52" y="31"/>
                  </a:lnTo>
                  <a:lnTo>
                    <a:pt x="86" y="31"/>
                  </a:lnTo>
                  <a:lnTo>
                    <a:pt x="59" y="50"/>
                  </a:lnTo>
                  <a:lnTo>
                    <a:pt x="69" y="83"/>
                  </a:lnTo>
                  <a:lnTo>
                    <a:pt x="43" y="62"/>
                  </a:lnTo>
                  <a:lnTo>
                    <a:pt x="17" y="83"/>
                  </a:lnTo>
                  <a:lnTo>
                    <a:pt x="26" y="50"/>
                  </a:lnTo>
                  <a:lnTo>
                    <a:pt x="0" y="31"/>
                  </a:lnTo>
                  <a:lnTo>
                    <a:pt x="33" y="31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cxnSp>
        <p:nvCxnSpPr>
          <p:cNvPr id="37" name="Straight Connector 36"/>
          <p:cNvCxnSpPr>
            <a:cxnSpLocks/>
          </p:cNvCxnSpPr>
          <p:nvPr/>
        </p:nvCxnSpPr>
        <p:spPr bwMode="auto">
          <a:xfrm>
            <a:off x="10754839" y="3124200"/>
            <a:ext cx="376987" cy="0"/>
          </a:xfrm>
          <a:prstGeom prst="line">
            <a:avLst/>
          </a:prstGeom>
          <a:ln w="50800" cap="rnd">
            <a:solidFill>
              <a:srgbClr val="3DE0B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59A33C-752A-BA43-8624-A7768D0783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59A33C-752A-BA43-8624-A7768D07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B0DB00-E72B-1E44-8CB4-6C1B6C910B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7FA7E07C-F1EF-D442-8B1A-4EAA8C7489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870" b="5365"/>
          <a:stretch/>
        </p:blipFill>
        <p:spPr>
          <a:xfrm>
            <a:off x="5199529" y="1524000"/>
            <a:ext cx="6992470" cy="4724400"/>
          </a:xfrm>
          <a:custGeom>
            <a:avLst/>
            <a:gdLst>
              <a:gd name="connsiteX0" fmla="*/ 464692 w 6992470"/>
              <a:gd name="connsiteY0" fmla="*/ 0 h 4724400"/>
              <a:gd name="connsiteX1" fmla="*/ 6992470 w 6992470"/>
              <a:gd name="connsiteY1" fmla="*/ 0 h 4724400"/>
              <a:gd name="connsiteX2" fmla="*/ 6992470 w 6992470"/>
              <a:gd name="connsiteY2" fmla="*/ 4724400 h 4724400"/>
              <a:gd name="connsiteX3" fmla="*/ 464692 w 6992470"/>
              <a:gd name="connsiteY3" fmla="*/ 4724400 h 4724400"/>
              <a:gd name="connsiteX4" fmla="*/ 0 w 6992470"/>
              <a:gd name="connsiteY4" fmla="*/ 4259708 h 4724400"/>
              <a:gd name="connsiteX5" fmla="*/ 0 w 6992470"/>
              <a:gd name="connsiteY5" fmla="*/ 464692 h 4724400"/>
              <a:gd name="connsiteX6" fmla="*/ 464692 w 6992470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0" h="4724400">
                <a:moveTo>
                  <a:pt x="464692" y="0"/>
                </a:moveTo>
                <a:lnTo>
                  <a:pt x="6992470" y="0"/>
                </a:lnTo>
                <a:lnTo>
                  <a:pt x="6992470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</p:spPr>
      </p:pic>
      <p:sp>
        <p:nvSpPr>
          <p:cNvPr id="67" name="Freeform 66">
            <a:extLst>
              <a:ext uri="{FF2B5EF4-FFF2-40B4-BE49-F238E27FC236}">
                <a16:creationId xmlns:a16="http://schemas.microsoft.com/office/drawing/2014/main" id="{1B0C603A-4882-A141-B249-02C302122D5A}"/>
              </a:ext>
            </a:extLst>
          </p:cNvPr>
          <p:cNvSpPr/>
          <p:nvPr/>
        </p:nvSpPr>
        <p:spPr>
          <a:xfrm>
            <a:off x="5199530" y="1524000"/>
            <a:ext cx="6992471" cy="4724400"/>
          </a:xfrm>
          <a:custGeom>
            <a:avLst/>
            <a:gdLst>
              <a:gd name="connsiteX0" fmla="*/ 464692 w 6992471"/>
              <a:gd name="connsiteY0" fmla="*/ 0 h 4724400"/>
              <a:gd name="connsiteX1" fmla="*/ 6992471 w 6992471"/>
              <a:gd name="connsiteY1" fmla="*/ 0 h 4724400"/>
              <a:gd name="connsiteX2" fmla="*/ 6992471 w 6992471"/>
              <a:gd name="connsiteY2" fmla="*/ 4724400 h 4724400"/>
              <a:gd name="connsiteX3" fmla="*/ 464692 w 6992471"/>
              <a:gd name="connsiteY3" fmla="*/ 4724400 h 4724400"/>
              <a:gd name="connsiteX4" fmla="*/ 0 w 6992471"/>
              <a:gd name="connsiteY4" fmla="*/ 4259708 h 4724400"/>
              <a:gd name="connsiteX5" fmla="*/ 0 w 6992471"/>
              <a:gd name="connsiteY5" fmla="*/ 464692 h 4724400"/>
              <a:gd name="connsiteX6" fmla="*/ 464692 w 6992471"/>
              <a:gd name="connsiteY6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92471" h="4724400">
                <a:moveTo>
                  <a:pt x="464692" y="0"/>
                </a:moveTo>
                <a:lnTo>
                  <a:pt x="6992471" y="0"/>
                </a:lnTo>
                <a:lnTo>
                  <a:pt x="6992471" y="4724400"/>
                </a:lnTo>
                <a:lnTo>
                  <a:pt x="464692" y="4724400"/>
                </a:lnTo>
                <a:cubicBezTo>
                  <a:pt x="208050" y="4724400"/>
                  <a:pt x="0" y="4516350"/>
                  <a:pt x="0" y="4259708"/>
                </a:cubicBezTo>
                <a:lnTo>
                  <a:pt x="0" y="464692"/>
                </a:lnTo>
                <a:cubicBezTo>
                  <a:pt x="0" y="208050"/>
                  <a:pt x="208050" y="0"/>
                  <a:pt x="464692" y="0"/>
                </a:cubicBezTo>
                <a:close/>
              </a:path>
            </a:pathLst>
          </a:cu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DCDBF-D9B4-8144-B2B5-53E4A884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endParaRPr lang="en-US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8E95CD4-7028-5648-B2DC-63C00E231192}"/>
              </a:ext>
            </a:extLst>
          </p:cNvPr>
          <p:cNvSpPr/>
          <p:nvPr/>
        </p:nvSpPr>
        <p:spPr>
          <a:xfrm>
            <a:off x="4812645" y="1948070"/>
            <a:ext cx="773768" cy="387626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FE259A-EE1B-FC4D-89DD-C314AF91A59E}"/>
              </a:ext>
            </a:extLst>
          </p:cNvPr>
          <p:cNvSpPr/>
          <p:nvPr/>
        </p:nvSpPr>
        <p:spPr>
          <a:xfrm>
            <a:off x="5801053" y="2123006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存安全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通过所有权系统、借用检查器和生命周期管理等机制，确保在编译时避免内存安全问题，如空指针、野指针、数据竞争等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FCDD02-B361-6442-8058-B5CC9993F834}"/>
              </a:ext>
            </a:extLst>
          </p:cNvPr>
          <p:cNvGrpSpPr/>
          <p:nvPr/>
        </p:nvGrpSpPr>
        <p:grpSpPr>
          <a:xfrm>
            <a:off x="5027285" y="2165412"/>
            <a:ext cx="344488" cy="346075"/>
            <a:chOff x="2678113" y="6364288"/>
            <a:chExt cx="344488" cy="346075"/>
          </a:xfrm>
        </p:grpSpPr>
        <p:sp>
          <p:nvSpPr>
            <p:cNvPr id="10" name="Freeform 304">
              <a:extLst>
                <a:ext uri="{FF2B5EF4-FFF2-40B4-BE49-F238E27FC236}">
                  <a16:creationId xmlns:a16="http://schemas.microsoft.com/office/drawing/2014/main" id="{3D4E553A-8151-1E45-9928-6E6260B75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05">
              <a:extLst>
                <a:ext uri="{FF2B5EF4-FFF2-40B4-BE49-F238E27FC236}">
                  <a16:creationId xmlns:a16="http://schemas.microsoft.com/office/drawing/2014/main" id="{2A3DDE9C-73EE-3848-BE6C-D7CE25E1C0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857F1E2-A623-3541-9DC2-1EB44E5ECB77}"/>
              </a:ext>
            </a:extLst>
          </p:cNvPr>
          <p:cNvSpPr/>
          <p:nvPr/>
        </p:nvSpPr>
        <p:spPr>
          <a:xfrm>
            <a:off x="5801053" y="289715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并发性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内置了轻量级的线程模型和消息传递机制，使并发编程更加容易和安全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75C5E-35C9-E84C-87DF-9D25D061A814}"/>
              </a:ext>
            </a:extLst>
          </p:cNvPr>
          <p:cNvGrpSpPr/>
          <p:nvPr/>
        </p:nvGrpSpPr>
        <p:grpSpPr>
          <a:xfrm>
            <a:off x="5027285" y="2939565"/>
            <a:ext cx="344488" cy="346075"/>
            <a:chOff x="2678113" y="6364288"/>
            <a:chExt cx="344488" cy="346075"/>
          </a:xfrm>
        </p:grpSpPr>
        <p:sp>
          <p:nvSpPr>
            <p:cNvPr id="16" name="Freeform 304">
              <a:extLst>
                <a:ext uri="{FF2B5EF4-FFF2-40B4-BE49-F238E27FC236}">
                  <a16:creationId xmlns:a16="http://schemas.microsoft.com/office/drawing/2014/main" id="{F79FBDD5-C0D9-D445-84EB-DE7742506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305">
              <a:extLst>
                <a:ext uri="{FF2B5EF4-FFF2-40B4-BE49-F238E27FC236}">
                  <a16:creationId xmlns:a16="http://schemas.microsoft.com/office/drawing/2014/main" id="{B0231B76-6BD4-3C4F-9F1F-675F1836E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1C048-EBF4-6547-92A4-8AB5FDC88E62}"/>
              </a:ext>
            </a:extLst>
          </p:cNvPr>
          <p:cNvSpPr/>
          <p:nvPr/>
        </p:nvSpPr>
        <p:spPr>
          <a:xfrm>
            <a:off x="5801053" y="3671312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性能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的性能与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/C++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相当，甚至在某些情况下更好。它通过零成本抽象和内联优化等技术实现高性能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8E1C00-6EBF-F044-87F3-A697BAD3210F}"/>
              </a:ext>
            </a:extLst>
          </p:cNvPr>
          <p:cNvGrpSpPr/>
          <p:nvPr/>
        </p:nvGrpSpPr>
        <p:grpSpPr>
          <a:xfrm>
            <a:off x="5027285" y="3713718"/>
            <a:ext cx="344488" cy="346075"/>
            <a:chOff x="2678113" y="6364288"/>
            <a:chExt cx="344488" cy="346075"/>
          </a:xfrm>
        </p:grpSpPr>
        <p:sp>
          <p:nvSpPr>
            <p:cNvPr id="21" name="Freeform 304">
              <a:extLst>
                <a:ext uri="{FF2B5EF4-FFF2-40B4-BE49-F238E27FC236}">
                  <a16:creationId xmlns:a16="http://schemas.microsoft.com/office/drawing/2014/main" id="{3A8F87EC-002E-4E4B-B551-A1634363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Oval 305">
              <a:extLst>
                <a:ext uri="{FF2B5EF4-FFF2-40B4-BE49-F238E27FC236}">
                  <a16:creationId xmlns:a16="http://schemas.microsoft.com/office/drawing/2014/main" id="{16E3AAEA-9687-C34F-853E-50E6D883B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52A869-F025-AA4A-B394-41D4C8F270A6}"/>
              </a:ext>
            </a:extLst>
          </p:cNvPr>
          <p:cNvSpPr/>
          <p:nvPr/>
        </p:nvSpPr>
        <p:spPr>
          <a:xfrm>
            <a:off x="5801053" y="4445465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模式匹配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强大的模式匹配功能，可用于处理复杂的数据结构和状态转换，使代码更加清晰和可维护。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E77B881-7550-C545-B7CB-FFA1AA8B579B}"/>
              </a:ext>
            </a:extLst>
          </p:cNvPr>
          <p:cNvGrpSpPr/>
          <p:nvPr/>
        </p:nvGrpSpPr>
        <p:grpSpPr>
          <a:xfrm>
            <a:off x="5027285" y="4487871"/>
            <a:ext cx="344488" cy="346075"/>
            <a:chOff x="2678113" y="6364288"/>
            <a:chExt cx="344488" cy="346075"/>
          </a:xfrm>
        </p:grpSpPr>
        <p:sp>
          <p:nvSpPr>
            <p:cNvPr id="26" name="Freeform 304">
              <a:extLst>
                <a:ext uri="{FF2B5EF4-FFF2-40B4-BE49-F238E27FC236}">
                  <a16:creationId xmlns:a16="http://schemas.microsoft.com/office/drawing/2014/main" id="{30021830-FE88-654F-8724-691C54423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Oval 305">
              <a:extLst>
                <a:ext uri="{FF2B5EF4-FFF2-40B4-BE49-F238E27FC236}">
                  <a16:creationId xmlns:a16="http://schemas.microsoft.com/office/drawing/2014/main" id="{27E0D769-B84D-F140-93F3-F15B76C0C8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6254ABA-10E2-F24D-B1C2-99A18B011CC7}"/>
              </a:ext>
            </a:extLst>
          </p:cNvPr>
          <p:cNvSpPr/>
          <p:nvPr/>
        </p:nvSpPr>
        <p:spPr>
          <a:xfrm>
            <a:off x="5801053" y="5219619"/>
            <a:ext cx="585754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生态系统：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st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拥有活跃的社区和丰富的库，可以轻松地与其他语言进行集成，并提供各种功能强大的工具和框架，如</a:t>
            </a:r>
            <a:r>
              <a:rPr lang="en-US" altLang="zh-CN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  <a:r>
              <a:rPr lang="zh-CN" alt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构建系统等。</a:t>
            </a:r>
            <a:endParaRPr lang="en-US" altLang="zh-CN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905D9EB-8FCE-8D45-AAE8-F46ADFD4477B}"/>
              </a:ext>
            </a:extLst>
          </p:cNvPr>
          <p:cNvGrpSpPr/>
          <p:nvPr/>
        </p:nvGrpSpPr>
        <p:grpSpPr>
          <a:xfrm>
            <a:off x="5027285" y="5262025"/>
            <a:ext cx="344488" cy="346075"/>
            <a:chOff x="2678113" y="6364288"/>
            <a:chExt cx="344488" cy="346075"/>
          </a:xfrm>
        </p:grpSpPr>
        <p:sp>
          <p:nvSpPr>
            <p:cNvPr id="31" name="Freeform 304">
              <a:extLst>
                <a:ext uri="{FF2B5EF4-FFF2-40B4-BE49-F238E27FC236}">
                  <a16:creationId xmlns:a16="http://schemas.microsoft.com/office/drawing/2014/main" id="{99A22395-21DD-144A-836C-C2135355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6424613"/>
              <a:ext cx="134938" cy="225425"/>
            </a:xfrm>
            <a:custGeom>
              <a:avLst/>
              <a:gdLst>
                <a:gd name="T0" fmla="*/ 0 w 85"/>
                <a:gd name="T1" fmla="*/ 104 h 142"/>
                <a:gd name="T2" fmla="*/ 42 w 85"/>
                <a:gd name="T3" fmla="*/ 71 h 142"/>
                <a:gd name="T4" fmla="*/ 0 w 85"/>
                <a:gd name="T5" fmla="*/ 38 h 142"/>
                <a:gd name="T6" fmla="*/ 0 w 85"/>
                <a:gd name="T7" fmla="*/ 0 h 142"/>
                <a:gd name="T8" fmla="*/ 85 w 85"/>
                <a:gd name="T9" fmla="*/ 71 h 142"/>
                <a:gd name="T10" fmla="*/ 0 w 85"/>
                <a:gd name="T11" fmla="*/ 142 h 142"/>
                <a:gd name="T12" fmla="*/ 0 w 85"/>
                <a:gd name="T13" fmla="*/ 10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42">
                  <a:moveTo>
                    <a:pt x="0" y="104"/>
                  </a:moveTo>
                  <a:lnTo>
                    <a:pt x="42" y="71"/>
                  </a:lnTo>
                  <a:lnTo>
                    <a:pt x="0" y="38"/>
                  </a:lnTo>
                  <a:lnTo>
                    <a:pt x="0" y="0"/>
                  </a:lnTo>
                  <a:lnTo>
                    <a:pt x="85" y="71"/>
                  </a:lnTo>
                  <a:lnTo>
                    <a:pt x="0" y="142"/>
                  </a:lnTo>
                  <a:lnTo>
                    <a:pt x="0" y="104"/>
                  </a:ln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05">
              <a:extLst>
                <a:ext uri="{FF2B5EF4-FFF2-40B4-BE49-F238E27FC236}">
                  <a16:creationId xmlns:a16="http://schemas.microsoft.com/office/drawing/2014/main" id="{0714544D-AE73-314C-AFF6-F2148A25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6364288"/>
              <a:ext cx="344488" cy="346075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3307900-46DB-A74C-9D14-A2503B792814}"/>
              </a:ext>
            </a:extLst>
          </p:cNvPr>
          <p:cNvSpPr txBox="1">
            <a:spLocks/>
          </p:cNvSpPr>
          <p:nvPr/>
        </p:nvSpPr>
        <p:spPr>
          <a:xfrm>
            <a:off x="699073" y="3693311"/>
            <a:ext cx="3067879" cy="19389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 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是一门系统级别的编程语言，它旨在解决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等语言在系统级编程中常见的安全性和并发性等问题。</a:t>
            </a:r>
          </a:p>
          <a:p>
            <a:endParaRPr lang="zh-CN" altLang="en-US" sz="1400" b="0" dirty="0">
              <a:latin typeface="+mn-ea"/>
              <a:ea typeface="+mn-ea"/>
              <a:cs typeface="Segoe UI" panose="020B0502040204020203" pitchFamily="34" charset="0"/>
            </a:endParaRPr>
          </a:p>
          <a:p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传统的系统级编程语言如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C/C++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在处理内存安全性和并发性时存在许多挑战，如空指针、数据竞争等问题。而</a:t>
            </a:r>
            <a:r>
              <a:rPr lang="en-US" altLang="zh-CN" sz="1400" b="0" dirty="0">
                <a:latin typeface="+mn-ea"/>
                <a:ea typeface="+mn-ea"/>
                <a:cs typeface="Segoe UI" panose="020B0502040204020203" pitchFamily="34" charset="0"/>
              </a:rPr>
              <a:t>Rust</a:t>
            </a:r>
            <a:r>
              <a:rPr lang="zh-CN" altLang="en-US" sz="1400" b="0" dirty="0">
                <a:latin typeface="+mn-ea"/>
                <a:ea typeface="+mn-ea"/>
                <a:cs typeface="Segoe UI" panose="020B0502040204020203" pitchFamily="34" charset="0"/>
              </a:rPr>
              <a:t>的设计目标之一是通过强大的类型系统和所有权机制解决这些问题，提高代码的安全性和可靠性。</a:t>
            </a:r>
            <a:endParaRPr lang="en-US" sz="1400" b="0" dirty="0">
              <a:latin typeface="+mn-e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E01A4C2-7E06-814F-90D5-078B503B279B}"/>
              </a:ext>
            </a:extLst>
          </p:cNvPr>
          <p:cNvCxnSpPr/>
          <p:nvPr/>
        </p:nvCxnSpPr>
        <p:spPr>
          <a:xfrm>
            <a:off x="5801053" y="272552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A3160E5-25D5-CC4F-A151-9C9B1864C655}"/>
              </a:ext>
            </a:extLst>
          </p:cNvPr>
          <p:cNvCxnSpPr/>
          <p:nvPr/>
        </p:nvCxnSpPr>
        <p:spPr>
          <a:xfrm>
            <a:off x="5801053" y="3499679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CBE732-26CA-3C40-AD13-C3442DBE712F}"/>
              </a:ext>
            </a:extLst>
          </p:cNvPr>
          <p:cNvCxnSpPr/>
          <p:nvPr/>
        </p:nvCxnSpPr>
        <p:spPr>
          <a:xfrm>
            <a:off x="5801053" y="4273832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A45689-F142-C74B-8792-F7E07AEB8736}"/>
              </a:ext>
            </a:extLst>
          </p:cNvPr>
          <p:cNvCxnSpPr/>
          <p:nvPr/>
        </p:nvCxnSpPr>
        <p:spPr>
          <a:xfrm>
            <a:off x="5801053" y="5047986"/>
            <a:ext cx="6390947" cy="0"/>
          </a:xfrm>
          <a:prstGeom prst="line">
            <a:avLst/>
          </a:prstGeom>
          <a:ln>
            <a:solidFill>
              <a:srgbClr val="3DE0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6E75AEC2-22B9-9F14-7A03-CA892FF19C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7" y="1443562"/>
            <a:ext cx="1981054" cy="198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618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 bwMode="auto">
          <a:xfrm>
            <a:off x="523733" y="494310"/>
            <a:ext cx="829185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 dirty="0">
                <a:solidFill>
                  <a:schemeClr val="accent2">
                    <a:lumMod val="75000"/>
                  </a:schemeClr>
                </a:solidFill>
                <a:latin typeface="+mn-ea"/>
              </a:rPr>
              <a:t>小组成员与分工</a:t>
            </a:r>
            <a:endParaRPr lang="zh-CN" sz="4400" b="1" dirty="0"/>
          </a:p>
        </p:txBody>
      </p:sp>
      <p:sp>
        <p:nvSpPr>
          <p:cNvPr id="4" name="文本框 3"/>
          <p:cNvSpPr txBox="1"/>
          <p:nvPr/>
        </p:nvSpPr>
        <p:spPr bwMode="auto">
          <a:xfrm>
            <a:off x="641445" y="1385248"/>
            <a:ext cx="9826388" cy="2127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阎昶澍：组长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MMU</a:t>
            </a:r>
            <a:r>
              <a:rPr lang="zh-CN" dirty="0"/>
              <a:t>部分，交叉编译与上板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郭东昊：组员，参与</a:t>
            </a:r>
            <a:r>
              <a:rPr lang="en-US" dirty="0"/>
              <a:t>Rust</a:t>
            </a:r>
            <a:r>
              <a:rPr lang="zh-CN" dirty="0"/>
              <a:t>改写，上板与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薄震宇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周翟恩和：组员，参与</a:t>
            </a:r>
            <a:r>
              <a:rPr lang="en-US" dirty="0"/>
              <a:t>Rust</a:t>
            </a:r>
            <a:r>
              <a:rPr lang="zh-CN" dirty="0"/>
              <a:t>改写，</a:t>
            </a:r>
            <a:r>
              <a:rPr lang="en-US" dirty="0"/>
              <a:t>PPT</a:t>
            </a:r>
            <a:r>
              <a:rPr lang="zh-CN" dirty="0"/>
              <a:t>制作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/>
              <a:buChar char="•"/>
              <a:defRPr/>
            </a:pPr>
            <a:r>
              <a:rPr lang="zh-CN" dirty="0"/>
              <a:t>王劲博：组员</a:t>
            </a:r>
            <a:endParaRPr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847E171-B387-C228-973A-102D6731B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131424" y="3815344"/>
            <a:ext cx="5929151" cy="1993062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C277E2F-10B5-6B3C-BA21-D2301266C98D}"/>
              </a:ext>
            </a:extLst>
          </p:cNvPr>
          <p:cNvSpPr txBox="1"/>
          <p:nvPr/>
        </p:nvSpPr>
        <p:spPr>
          <a:xfrm>
            <a:off x="5478349" y="5926394"/>
            <a:ext cx="12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 </a:t>
            </a:r>
            <a:r>
              <a:rPr lang="zh-CN" altLang="en-US" dirty="0"/>
              <a:t>统计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6728159" name="文本框 2"/>
          <p:cNvSpPr txBox="1"/>
          <p:nvPr/>
        </p:nvSpPr>
        <p:spPr bwMode="auto">
          <a:xfrm>
            <a:off x="523733" y="494309"/>
            <a:ext cx="7493366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sz="4400" b="1" i="0" u="none" strike="noStrike" cap="none" spc="0" dirty="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  <a:cs typeface="Arial"/>
              </a:rPr>
              <a:t>同类项目对比</a:t>
            </a:r>
            <a:endParaRPr lang="zh-CN" sz="4400" b="1" dirty="0"/>
          </a:p>
        </p:txBody>
      </p:sp>
      <p:graphicFrame>
        <p:nvGraphicFramePr>
          <p:cNvPr id="929128887" name="表格 929128886"/>
          <p:cNvGraphicFramePr>
            <a:graphicFrameLocks/>
          </p:cNvGraphicFramePr>
          <p:nvPr/>
        </p:nvGraphicFramePr>
        <p:xfrm>
          <a:off x="604874" y="2133599"/>
          <a:ext cx="10847347" cy="27736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7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7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4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项目完成度\组名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mustrust (OSH2024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imagination (OSH2023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1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x-rust-freertos (OSH2019)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9524" algn="ctr"/>
                    <a:lnB w="9524" algn="ctr"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rust完整改写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 dirty="0" err="1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交叉编译&amp;QEMU模拟器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 dirty="0" err="1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上板运行</a:t>
                      </a:r>
                      <a:endParaRPr sz="72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MMU软件模拟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✓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Calibri"/>
                        </a:rPr>
                        <a:t>MMU硬件支持</a:t>
                      </a:r>
                      <a:endParaRPr sz="72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9524" algn="ctr"/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9524" algn="ctr"/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9524" algn="ctr"/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sz="2600" b="0" i="0" u="none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</a:rPr>
                        <a:t>×</a:t>
                      </a:r>
                      <a:endParaRPr sz="7200" dirty="0"/>
                    </a:p>
                  </a:txBody>
                  <a:tcPr marL="0" marR="0" marT="0" marB="0" anchor="b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9524" algn="ctr"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3" imgW="7772400" imgH="10058400" progId="TCLayout.ActiveDocument.1">
                  <p:embed/>
                </p:oleObj>
              </mc:Choice>
              <mc:Fallback>
                <p:oleObj name="oleObj" r:id="rId3" imgW="7772400" imgH="1005840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 bwMode="auto">
          <a:xfrm>
            <a:off x="533400" y="952500"/>
            <a:ext cx="11125200" cy="4953000"/>
          </a:xfrm>
          <a:prstGeom prst="roundRect">
            <a:avLst>
              <a:gd name="adj" fmla="val 9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rcRect l="4251" t="311" r="36430" b="2075"/>
          <a:stretch/>
        </p:blipFill>
        <p:spPr bwMode="auto">
          <a:xfrm>
            <a:off x="533400" y="952500"/>
            <a:ext cx="4514850" cy="4953000"/>
          </a:xfrm>
          <a:custGeom>
            <a:avLst/>
            <a:gdLst>
              <a:gd name="connsiteX0" fmla="*/ 409587 w 4514850"/>
              <a:gd name="connsiteY0" fmla="*/ 0 h 4953000"/>
              <a:gd name="connsiteX1" fmla="*/ 4105263 w 4514850"/>
              <a:gd name="connsiteY1" fmla="*/ 0 h 4953000"/>
              <a:gd name="connsiteX2" fmla="*/ 4514850 w 4514850"/>
              <a:gd name="connsiteY2" fmla="*/ 409587 h 4953000"/>
              <a:gd name="connsiteX3" fmla="*/ 4514850 w 4514850"/>
              <a:gd name="connsiteY3" fmla="*/ 4543413 h 4953000"/>
              <a:gd name="connsiteX4" fmla="*/ 4105263 w 4514850"/>
              <a:gd name="connsiteY4" fmla="*/ 4953000 h 4953000"/>
              <a:gd name="connsiteX5" fmla="*/ 409587 w 4514850"/>
              <a:gd name="connsiteY5" fmla="*/ 4953000 h 4953000"/>
              <a:gd name="connsiteX6" fmla="*/ 0 w 4514850"/>
              <a:gd name="connsiteY6" fmla="*/ 4543413 h 4953000"/>
              <a:gd name="connsiteX7" fmla="*/ 0 w 4514850"/>
              <a:gd name="connsiteY7" fmla="*/ 409587 h 4953000"/>
              <a:gd name="connsiteX8" fmla="*/ 409587 w 4514850"/>
              <a:gd name="connsiteY8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4850" h="4953000" extrusionOk="0">
                <a:moveTo>
                  <a:pt x="409587" y="0"/>
                </a:moveTo>
                <a:lnTo>
                  <a:pt x="4105263" y="0"/>
                </a:lnTo>
                <a:cubicBezTo>
                  <a:pt x="4331472" y="0"/>
                  <a:pt x="4514850" y="183378"/>
                  <a:pt x="4514850" y="409587"/>
                </a:cubicBezTo>
                <a:lnTo>
                  <a:pt x="4514850" y="4543413"/>
                </a:lnTo>
                <a:cubicBezTo>
                  <a:pt x="4514850" y="4769622"/>
                  <a:pt x="4331472" y="4953000"/>
                  <a:pt x="4105263" y="4953000"/>
                </a:cubicBezTo>
                <a:lnTo>
                  <a:pt x="409587" y="4953000"/>
                </a:lnTo>
                <a:cubicBezTo>
                  <a:pt x="183378" y="4953000"/>
                  <a:pt x="0" y="4769622"/>
                  <a:pt x="0" y="4543413"/>
                </a:cubicBezTo>
                <a:lnTo>
                  <a:pt x="0" y="409587"/>
                </a:lnTo>
                <a:cubicBezTo>
                  <a:pt x="0" y="183378"/>
                  <a:pt x="183378" y="0"/>
                  <a:pt x="409587" y="0"/>
                </a:cubicBezTo>
                <a:close/>
              </a:path>
            </a:pathLst>
          </a:custGeom>
        </p:spPr>
      </p:pic>
      <p:sp>
        <p:nvSpPr>
          <p:cNvPr id="6" name="Rounded Rectangle 5"/>
          <p:cNvSpPr/>
          <p:nvPr/>
        </p:nvSpPr>
        <p:spPr bwMode="auto">
          <a:xfrm>
            <a:off x="533400" y="952500"/>
            <a:ext cx="4514850" cy="4953000"/>
          </a:xfrm>
          <a:prstGeom prst="roundRect">
            <a:avLst>
              <a:gd name="adj" fmla="val 9072"/>
            </a:avLst>
          </a:prstGeom>
          <a:gradFill>
            <a:gsLst>
              <a:gs pos="0">
                <a:srgbClr val="363795">
                  <a:alpha val="75000"/>
                </a:srgbClr>
              </a:gs>
              <a:gs pos="100000">
                <a:srgbClr val="005C97">
                  <a:alpha val="90000"/>
                </a:srgbClr>
              </a:gs>
            </a:gsLst>
            <a:lin ang="18900000" scaled="1"/>
          </a:gra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/>
          </a:p>
        </p:txBody>
      </p:sp>
      <p:sp>
        <p:nvSpPr>
          <p:cNvPr id="11" name="Freeform 10"/>
          <p:cNvSpPr/>
          <p:nvPr/>
        </p:nvSpPr>
        <p:spPr bwMode="auto">
          <a:xfrm>
            <a:off x="533400" y="1524000"/>
            <a:ext cx="3714750" cy="1047750"/>
          </a:xfrm>
          <a:custGeom>
            <a:avLst/>
            <a:gdLst>
              <a:gd name="connsiteX0" fmla="*/ 0 w 3714750"/>
              <a:gd name="connsiteY0" fmla="*/ 0 h 1047750"/>
              <a:gd name="connsiteX1" fmla="*/ 3190875 w 3714750"/>
              <a:gd name="connsiteY1" fmla="*/ 0 h 1047750"/>
              <a:gd name="connsiteX2" fmla="*/ 3714750 w 3714750"/>
              <a:gd name="connsiteY2" fmla="*/ 523875 h 1047750"/>
              <a:gd name="connsiteX3" fmla="*/ 3190875 w 3714750"/>
              <a:gd name="connsiteY3" fmla="*/ 1047750 h 1047750"/>
              <a:gd name="connsiteX4" fmla="*/ 0 w 3714750"/>
              <a:gd name="connsiteY4" fmla="*/ 1047750 h 104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4750" h="1047750" extrusionOk="0">
                <a:moveTo>
                  <a:pt x="0" y="0"/>
                </a:moveTo>
                <a:lnTo>
                  <a:pt x="3190875" y="0"/>
                </a:lnTo>
                <a:cubicBezTo>
                  <a:pt x="3480203" y="0"/>
                  <a:pt x="3714750" y="234547"/>
                  <a:pt x="3714750" y="523875"/>
                </a:cubicBezTo>
                <a:cubicBezTo>
                  <a:pt x="3714750" y="813203"/>
                  <a:pt x="3480203" y="1047750"/>
                  <a:pt x="3190875" y="1047750"/>
                </a:cubicBezTo>
                <a:lnTo>
                  <a:pt x="0" y="1047750"/>
                </a:lnTo>
                <a:close/>
              </a:path>
            </a:pathLst>
          </a:custGeom>
          <a:gradFill>
            <a:gsLst>
              <a:gs pos="0">
                <a:srgbClr val="00B492"/>
              </a:gs>
              <a:gs pos="100000">
                <a:srgbClr val="4EECC8"/>
              </a:gs>
            </a:gsLst>
            <a:lin ang="18900000" scaled="1"/>
          </a:gradFill>
          <a:ln>
            <a:noFill/>
          </a:ln>
          <a:effectLst>
            <a:outerShdw blurRad="203200" dist="101600" dir="10800000" algn="r" rotWithShape="0">
              <a:srgbClr val="4EECC8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2400" b="1"/>
          </a:p>
        </p:txBody>
      </p:sp>
      <p:cxnSp>
        <p:nvCxnSpPr>
          <p:cNvPr id="13" name="Straight Connector 12"/>
          <p:cNvCxnSpPr>
            <a:cxnSpLocks/>
          </p:cNvCxnSpPr>
          <p:nvPr/>
        </p:nvCxnSpPr>
        <p:spPr bwMode="auto">
          <a:xfrm>
            <a:off x="2019300" y="2047875"/>
            <a:ext cx="3028950" cy="0"/>
          </a:xfrm>
          <a:prstGeom prst="line">
            <a:avLst/>
          </a:prstGeom>
          <a:ln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 bwMode="auto">
          <a:xfrm>
            <a:off x="1066800" y="1729637"/>
            <a:ext cx="630662" cy="636476"/>
            <a:chOff x="2684463" y="3619500"/>
            <a:chExt cx="344487" cy="34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 extrusionOk="0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 extrusionOk="0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2819400" y="3830637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2759075" y="3740149"/>
              <a:ext cx="38100" cy="30162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2759075" y="3800475"/>
              <a:ext cx="38100" cy="30162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 extrusionOk="0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 extrusionOk="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7" name="Line 15"/>
            <p:cNvSpPr>
              <a:spLocks noChangeShapeType="1"/>
            </p:cNvSpPr>
            <p:nvPr/>
          </p:nvSpPr>
          <p:spPr bwMode="auto">
            <a:xfrm>
              <a:off x="2984500" y="3830637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2954338" y="3717925"/>
              <a:ext cx="30162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 extrusionOk="0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d-ID"/>
            </a:p>
          </p:txBody>
        </p:sp>
      </p:grpSp>
      <p:sp>
        <p:nvSpPr>
          <p:cNvPr id="31" name="Title 1"/>
          <p:cNvSpPr txBox="1"/>
          <p:nvPr/>
        </p:nvSpPr>
        <p:spPr bwMode="auto">
          <a:xfrm>
            <a:off x="1066799" y="2938039"/>
            <a:ext cx="3465001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800">
                <a:solidFill>
                  <a:schemeClr val="bg1"/>
                </a:solidFill>
                <a:latin typeface="Segoe UI"/>
                <a:cs typeface="Segoe UI"/>
              </a:rPr>
              <a:t>Contents</a:t>
            </a:r>
            <a:endParaRPr/>
          </a:p>
        </p:txBody>
      </p:sp>
      <p:sp>
        <p:nvSpPr>
          <p:cNvPr id="32" name="Title 1"/>
          <p:cNvSpPr txBox="1"/>
          <p:nvPr/>
        </p:nvSpPr>
        <p:spPr bwMode="auto">
          <a:xfrm>
            <a:off x="5671791" y="178549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1</a:t>
            </a:r>
            <a:endParaRPr/>
          </a:p>
        </p:txBody>
      </p:sp>
      <p:sp>
        <p:nvSpPr>
          <p:cNvPr id="33" name="Title 1"/>
          <p:cNvSpPr txBox="1"/>
          <p:nvPr/>
        </p:nvSpPr>
        <p:spPr bwMode="auto">
          <a:xfrm>
            <a:off x="6546376" y="1839354"/>
            <a:ext cx="262170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b="0">
                <a:solidFill>
                  <a:schemeClr val="tx2"/>
                </a:solidFill>
                <a:latin typeface="Segoe UI"/>
                <a:cs typeface="Segoe UI"/>
              </a:rPr>
              <a:t>Rust</a:t>
            </a:r>
            <a:r>
              <a:rPr lang="zh-CN" sz="3200" b="0">
                <a:solidFill>
                  <a:schemeClr val="tx2"/>
                </a:solidFill>
                <a:latin typeface="Segoe UI"/>
                <a:cs typeface="Segoe UI"/>
              </a:rPr>
              <a:t>改写</a:t>
            </a:r>
            <a:endParaRPr lang="en-US" sz="3200" b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4" name="Title 1"/>
          <p:cNvSpPr txBox="1"/>
          <p:nvPr/>
        </p:nvSpPr>
        <p:spPr bwMode="auto">
          <a:xfrm>
            <a:off x="5668728" y="3181062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2</a:t>
            </a:r>
            <a:endParaRPr/>
          </a:p>
        </p:txBody>
      </p:sp>
      <p:sp>
        <p:nvSpPr>
          <p:cNvPr id="35" name="Title 1"/>
          <p:cNvSpPr txBox="1"/>
          <p:nvPr/>
        </p:nvSpPr>
        <p:spPr bwMode="auto">
          <a:xfrm>
            <a:off x="6545525" y="3187338"/>
            <a:ext cx="2404435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b="0">
                <a:solidFill>
                  <a:schemeClr val="tx2"/>
                </a:solidFill>
                <a:latin typeface="Segoe UI"/>
                <a:cs typeface="Segoe UI"/>
              </a:rPr>
              <a:t>MMU</a:t>
            </a:r>
            <a:r>
              <a:rPr lang="zh-CN" sz="3200" b="0">
                <a:solidFill>
                  <a:schemeClr val="tx2"/>
                </a:solidFill>
                <a:latin typeface="Segoe UI"/>
                <a:cs typeface="Segoe UI"/>
              </a:rPr>
              <a:t>部分</a:t>
            </a:r>
            <a:endParaRPr lang="en-US" sz="3200" b="0">
              <a:solidFill>
                <a:schemeClr val="tx2"/>
              </a:solidFill>
              <a:latin typeface="Segoe UI"/>
              <a:cs typeface="Segoe UI"/>
            </a:endParaRPr>
          </a:p>
        </p:txBody>
      </p:sp>
      <p:sp>
        <p:nvSpPr>
          <p:cNvPr id="36" name="Title 1"/>
          <p:cNvSpPr txBox="1"/>
          <p:nvPr/>
        </p:nvSpPr>
        <p:spPr bwMode="auto">
          <a:xfrm>
            <a:off x="5668728" y="4702217"/>
            <a:ext cx="586724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i="1">
                <a:solidFill>
                  <a:srgbClr val="105B97"/>
                </a:solidFill>
                <a:latin typeface="Segoe UI"/>
                <a:cs typeface="Segoe UI"/>
              </a:rPr>
              <a:t>3</a:t>
            </a:r>
            <a:endParaRPr/>
          </a:p>
        </p:txBody>
      </p:sp>
      <p:sp>
        <p:nvSpPr>
          <p:cNvPr id="37" name="Title 1"/>
          <p:cNvSpPr txBox="1"/>
          <p:nvPr/>
        </p:nvSpPr>
        <p:spPr bwMode="auto">
          <a:xfrm>
            <a:off x="6545525" y="4702217"/>
            <a:ext cx="451485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 b="1">
                <a:solidFill>
                  <a:schemeClr val="tx1"/>
                </a:solidFill>
                <a:latin typeface="Georgia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sz="3200" b="0" dirty="0">
                <a:solidFill>
                  <a:schemeClr val="tx2"/>
                </a:solidFill>
                <a:latin typeface="Segoe UI"/>
                <a:cs typeface="Segoe UI"/>
              </a:rPr>
              <a:t>交叉编译与上板</a:t>
            </a:r>
            <a:endParaRPr lang="en-US" sz="3200" b="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 bwMode="auto">
          <a:xfrm>
            <a:off x="5668728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5668728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8717701" y="2621527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auto">
          <a:xfrm>
            <a:off x="8717701" y="4273358"/>
            <a:ext cx="2407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>
          <a:xfrm>
            <a:off x="533400" y="406400"/>
            <a:ext cx="7876504" cy="889000"/>
          </a:xfrm>
        </p:spPr>
        <p:txBody>
          <a:bodyPr/>
          <a:lstStyle/>
          <a:p>
            <a:pPr>
              <a:defRPr/>
            </a:pP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 dirty="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基本方法与原则</a:t>
            </a:r>
            <a:endParaRPr lang="zh-CN" dirty="0"/>
          </a:p>
        </p:txBody>
      </p:sp>
      <p:sp>
        <p:nvSpPr>
          <p:cNvPr id="3" name="文本框 2"/>
          <p:cNvSpPr txBox="1"/>
          <p:nvPr/>
        </p:nvSpPr>
        <p:spPr bwMode="auto">
          <a:xfrm>
            <a:off x="3477297" y="1248385"/>
            <a:ext cx="575041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dirty="0"/>
              <a:t>基本方法：</a:t>
            </a:r>
            <a:endParaRPr lang="en-US" altLang="zh-CN" dirty="0"/>
          </a:p>
          <a:p>
            <a:pPr>
              <a:defRPr/>
            </a:pPr>
            <a:r>
              <a:rPr lang="zh-CN" dirty="0"/>
              <a:t>将源码的函数进行拆分为各种简单的函数或方法，然后整合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dirty="0"/>
              <a:t>改写原则：</a:t>
            </a:r>
            <a:endParaRPr lang="en-US" altLang="zh-CN" dirty="0"/>
          </a:p>
          <a:p>
            <a:pPr>
              <a:defRPr/>
            </a:pPr>
            <a:r>
              <a:rPr lang="zh-CN" dirty="0"/>
              <a:t>保留源码中的所有函数，函数的命名相应的改为符合</a:t>
            </a:r>
            <a:r>
              <a:rPr lang="en-US" dirty="0"/>
              <a:t>Rust</a:t>
            </a:r>
            <a:r>
              <a:rPr lang="zh-CN" dirty="0"/>
              <a:t>命名规范的版本，如“</a:t>
            </a:r>
            <a:r>
              <a:rPr lang="en-US" dirty="0" err="1"/>
              <a:t>vInitialiseList</a:t>
            </a:r>
            <a:r>
              <a:rPr lang="zh-CN" dirty="0"/>
              <a:t>”改为“</a:t>
            </a:r>
            <a:r>
              <a:rPr lang="en-US" dirty="0" err="1"/>
              <a:t>initialize_list</a:t>
            </a:r>
            <a:r>
              <a:rPr lang="zh-CN" dirty="0"/>
              <a:t>”</a:t>
            </a:r>
            <a:endParaRPr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062369C-A2C1-C8B5-D6E3-AC055D97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78" y="1295400"/>
            <a:ext cx="2574539" cy="3586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D2E4A7F-67EB-C8ED-9F47-898727AD27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7399"/>
          <a:stretch/>
        </p:blipFill>
        <p:spPr>
          <a:xfrm>
            <a:off x="9442969" y="293832"/>
            <a:ext cx="2127253" cy="6270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6725C75-FFA2-F4AD-B7F3-806A49BD62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751" y="3002711"/>
            <a:ext cx="5747783" cy="27991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箭头: 圆角右 10">
            <a:extLst>
              <a:ext uri="{FF2B5EF4-FFF2-40B4-BE49-F238E27FC236}">
                <a16:creationId xmlns:a16="http://schemas.microsoft.com/office/drawing/2014/main" id="{A44F0D7C-8EF6-40E5-35C9-BEAA16094F64}"/>
              </a:ext>
            </a:extLst>
          </p:cNvPr>
          <p:cNvSpPr/>
          <p:nvPr/>
        </p:nvSpPr>
        <p:spPr>
          <a:xfrm flipV="1">
            <a:off x="1558346" y="4931111"/>
            <a:ext cx="7734149" cy="1357007"/>
          </a:xfrm>
          <a:prstGeom prst="bentArrow">
            <a:avLst>
              <a:gd name="adj1" fmla="val 25000"/>
              <a:gd name="adj2" fmla="val 31752"/>
              <a:gd name="adj3" fmla="val 26898"/>
              <a:gd name="adj4" fmla="val 4527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困难与解决方案</a:t>
            </a:r>
            <a:endParaRPr lang="zh-CN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Rust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改写</a:t>
            </a:r>
            <a:r>
              <a:rPr lang="en-US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——</a:t>
            </a:r>
            <a:r>
              <a:rPr lang="zh-CN" sz="4400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rPr>
              <a:t>适配上板</a:t>
            </a:r>
            <a:endParaRPr lang="zh-CN"/>
          </a:p>
        </p:txBody>
      </p:sp>
      <p:sp>
        <p:nvSpPr>
          <p:cNvPr id="3" name="文本框 2"/>
          <p:cNvSpPr txBox="1"/>
          <p:nvPr/>
        </p:nvSpPr>
        <p:spPr bwMode="auto">
          <a:xfrm>
            <a:off x="702860" y="1295400"/>
            <a:ext cx="85571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dirty="0"/>
              <a:t>问题：上板时为</a:t>
            </a:r>
            <a:r>
              <a:rPr lang="en-US" dirty="0"/>
              <a:t>no-std</a:t>
            </a:r>
            <a:r>
              <a:rPr lang="zh-CN" dirty="0"/>
              <a:t>环境，这意味着不支持</a:t>
            </a:r>
            <a:r>
              <a:rPr lang="en-US" dirty="0"/>
              <a:t>std</a:t>
            </a:r>
            <a:r>
              <a:rPr lang="zh-CN" dirty="0"/>
              <a:t>库。编译时报错如下图。</a:t>
            </a: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zh-CN" dirty="0"/>
              <a:t>解决方案：使用</a:t>
            </a:r>
            <a:r>
              <a:rPr lang="en-US" dirty="0"/>
              <a:t>no-std</a:t>
            </a:r>
            <a:r>
              <a:rPr lang="zh-CN" dirty="0"/>
              <a:t>环境支持的库如</a:t>
            </a:r>
            <a:r>
              <a:rPr lang="en-US" dirty="0"/>
              <a:t>core</a:t>
            </a:r>
            <a:r>
              <a:rPr lang="zh-CN" dirty="0"/>
              <a:t>，</a:t>
            </a:r>
            <a:r>
              <a:rPr lang="en-US" dirty="0" err="1"/>
              <a:t>alloc</a:t>
            </a:r>
            <a:r>
              <a:rPr lang="zh-CN" dirty="0"/>
              <a:t>等来替代</a:t>
            </a:r>
            <a:r>
              <a:rPr lang="en-US" dirty="0"/>
              <a:t>std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buFont typeface="Arial"/>
              <a:buChar char="•"/>
              <a:defRPr/>
            </a:pPr>
            <a:r>
              <a:rPr lang="en-US" dirty="0"/>
              <a:t>core</a:t>
            </a:r>
            <a:r>
              <a:rPr lang="zh-CN" dirty="0"/>
              <a:t>：</a:t>
            </a:r>
            <a:endParaRPr lang="en-US" dirty="0"/>
          </a:p>
          <a:p>
            <a:pPr marL="285750" indent="-285750">
              <a:buFont typeface="Arial"/>
              <a:buChar char="•"/>
              <a:defRPr/>
            </a:pPr>
            <a:r>
              <a:rPr lang="en-US" dirty="0" err="1"/>
              <a:t>alloc</a:t>
            </a:r>
            <a:r>
              <a:rPr lang="zh-CN" dirty="0"/>
              <a:t>：</a:t>
            </a:r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tDa_iN.m2HGkJtvvV8j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3C95"/>
      </a:accent1>
      <a:accent2>
        <a:srgbClr val="04558D"/>
      </a:accent2>
      <a:accent3>
        <a:srgbClr val="46E5C1"/>
      </a:accent3>
      <a:accent4>
        <a:srgbClr val="EBECEB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</TotalTime>
  <Words>966</Words>
  <Application>Microsoft Office PowerPoint</Application>
  <DocSecurity>0</DocSecurity>
  <PresentationFormat>宽屏</PresentationFormat>
  <Paragraphs>131</Paragraphs>
  <Slides>20</Slides>
  <Notes>18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0</vt:i4>
      </vt:variant>
    </vt:vector>
  </HeadingPairs>
  <TitlesOfParts>
    <vt:vector size="27" baseType="lpstr">
      <vt:lpstr>Arial</vt:lpstr>
      <vt:lpstr>Calibri</vt:lpstr>
      <vt:lpstr>Segoe UI</vt:lpstr>
      <vt:lpstr>Segoe UI Light</vt:lpstr>
      <vt:lpstr>Office Theme</vt:lpstr>
      <vt:lpstr>oleObj</vt:lpstr>
      <vt:lpstr>think-cell Slide</vt:lpstr>
      <vt:lpstr>PowerPoint 演示文稿</vt:lpstr>
      <vt:lpstr>FreeRTOS</vt:lpstr>
      <vt:lpstr>Rust</vt:lpstr>
      <vt:lpstr>PowerPoint 演示文稿</vt:lpstr>
      <vt:lpstr>PowerPoint 演示文稿</vt:lpstr>
      <vt:lpstr>PowerPoint 演示文稿</vt:lpstr>
      <vt:lpstr>Rust改写——基本方法与原则</vt:lpstr>
      <vt:lpstr>Rust改写——困难与解决方案</vt:lpstr>
      <vt:lpstr>Rust改写——适配上板</vt:lpstr>
      <vt:lpstr>MMU部分</vt:lpstr>
      <vt:lpstr>MMU部分</vt:lpstr>
      <vt:lpstr>MMU部分（关键函数）</vt:lpstr>
      <vt:lpstr>MMU部分（关键函数）</vt:lpstr>
      <vt:lpstr>MMU部分（关键函数）</vt:lpstr>
      <vt:lpstr>MMU部分（关键函数）</vt:lpstr>
      <vt:lpstr>MMU部分（模拟结果）</vt:lpstr>
      <vt:lpstr>交叉编译与上板(bindgen方案)</vt:lpstr>
      <vt:lpstr>交叉编译与上板</vt:lpstr>
      <vt:lpstr>交叉编译与上板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ybagas</dc:creator>
  <cp:keywords/>
  <dc:description/>
  <cp:lastModifiedBy>Donghao Guo</cp:lastModifiedBy>
  <cp:revision>242</cp:revision>
  <dcterms:created xsi:type="dcterms:W3CDTF">2019-08-16T12:08:31Z</dcterms:created>
  <dcterms:modified xsi:type="dcterms:W3CDTF">2024-07-05T07:39:37Z</dcterms:modified>
  <cp:category/>
  <dc:identifier/>
  <cp:contentStatus/>
  <dc:language/>
  <cp:version/>
</cp:coreProperties>
</file>